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2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tags/tag63.xml" ContentType="application/vnd.openxmlformats-officedocument.presentationml.tags+xml"/>
  <Override PartName="/ppt/notesSlides/notesSlide5.xml" ContentType="application/vnd.openxmlformats-officedocument.presentationml.notesSlide+xml"/>
  <Override PartName="/ppt/tags/tag64.xml" ContentType="application/vnd.openxmlformats-officedocument.presentationml.tags+xml"/>
  <Override PartName="/ppt/notesSlides/notesSlide6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7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8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9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0.xml" ContentType="application/vnd.openxmlformats-officedocument.presentationml.notesSlide+xml"/>
  <Override PartName="/ppt/tags/tag73.xml" ContentType="application/vnd.openxmlformats-officedocument.presentationml.tags+xml"/>
  <Override PartName="/ppt/notesSlides/notesSlide11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2.xml" ContentType="application/vnd.openxmlformats-officedocument.presentationml.notesSlide+xml"/>
  <Override PartName="/ppt/tags/tag77.xml" ContentType="application/vnd.openxmlformats-officedocument.presentationml.tags+xml"/>
  <Override PartName="/ppt/notesSlides/notesSlide13.xml" ContentType="application/vnd.openxmlformats-officedocument.presentationml.notesSlide+xml"/>
  <Override PartName="/ppt/tags/tag78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8" r:id="rId2"/>
    <p:sldId id="260" r:id="rId3"/>
    <p:sldId id="257" r:id="rId4"/>
    <p:sldId id="261" r:id="rId5"/>
    <p:sldId id="262" r:id="rId6"/>
    <p:sldId id="263" r:id="rId7"/>
    <p:sldId id="264" r:id="rId8"/>
    <p:sldId id="267" r:id="rId9"/>
    <p:sldId id="268" r:id="rId10"/>
    <p:sldId id="276" r:id="rId11"/>
    <p:sldId id="277" r:id="rId12"/>
    <p:sldId id="278" r:id="rId13"/>
    <p:sldId id="274" r:id="rId14"/>
    <p:sldId id="275" r:id="rId15"/>
  </p:sldIdLst>
  <p:sldSz cx="9144000" cy="6858000" type="screen4x3"/>
  <p:notesSz cx="6858000" cy="9144000"/>
  <p:custDataLst>
    <p:tags r:id="rId17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13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6F0"/>
    <a:srgbClr val="FBD5B5"/>
    <a:srgbClr val="B8CCE4"/>
    <a:srgbClr val="68CCE4"/>
    <a:srgbClr val="B9CDE5"/>
    <a:srgbClr val="95B3D7"/>
    <a:srgbClr val="1BA3B1"/>
    <a:srgbClr val="1CB0A9"/>
    <a:srgbClr val="00CC99"/>
    <a:srgbClr val="2440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17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234" y="108"/>
      </p:cViewPr>
      <p:guideLst>
        <p:guide orient="horz" pos="2160"/>
        <p:guide pos="2880"/>
        <p:guide pos="132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6/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4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D52C1F3E-BB29-49E7-9332-E23C0ECD21B4}" type="slidenum">
              <a:rPr lang="en-US" sz="1200" smtClean="0">
                <a:latin typeface="Candara"/>
              </a:rPr>
              <a:pPr eaLnBrk="1" hangingPunct="1"/>
              <a:t>10</a:t>
            </a:fld>
            <a:endParaRPr lang="en-US" sz="1200" smtClean="0">
              <a:latin typeface="Candara"/>
            </a:endParaRPr>
          </a:p>
        </p:txBody>
      </p:sp>
      <p:sp>
        <p:nvSpPr>
          <p:cNvPr id="65539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2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95463" y="1179513"/>
            <a:ext cx="10409238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0738" y="339725"/>
            <a:ext cx="5843587" cy="298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</p:spTree>
    <p:extLst>
      <p:ext uri="{BB962C8B-B14F-4D97-AF65-F5344CB8AC3E}">
        <p14:creationId xmlns:p14="http://schemas.microsoft.com/office/powerpoint/2010/main" val="16844830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11</a:t>
            </a:fld>
            <a:endParaRPr lang="en-US" sz="1200" smtClean="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6848440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0528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D9466A8-1F92-47A7-B703-30F402239C48}" type="slidenum">
              <a:rPr lang="en-US" sz="1200" smtClean="0">
                <a:latin typeface="Candara"/>
              </a:rPr>
              <a:pPr eaLnBrk="1" hangingPunct="1"/>
              <a:t>13</a:t>
            </a:fld>
            <a:endParaRPr lang="en-US" sz="1200" smtClean="0">
              <a:latin typeface="Candara"/>
            </a:endParaRPr>
          </a:p>
        </p:txBody>
      </p:sp>
      <p:sp>
        <p:nvSpPr>
          <p:cNvPr id="54275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427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</p:spTree>
    <p:extLst>
      <p:ext uri="{BB962C8B-B14F-4D97-AF65-F5344CB8AC3E}">
        <p14:creationId xmlns:p14="http://schemas.microsoft.com/office/powerpoint/2010/main" val="30535104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D9466A8-1F92-47A7-B703-30F402239C48}" type="slidenum">
              <a:rPr lang="en-US" sz="1200" smtClean="0">
                <a:latin typeface="Candara"/>
              </a:rPr>
              <a:pPr eaLnBrk="1" hangingPunct="1"/>
              <a:t>14</a:t>
            </a:fld>
            <a:endParaRPr lang="en-US" sz="1200" smtClean="0">
              <a:latin typeface="Candara"/>
            </a:endParaRPr>
          </a:p>
        </p:txBody>
      </p:sp>
      <p:sp>
        <p:nvSpPr>
          <p:cNvPr id="54275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 smtClean="0"/>
              <a:t>LATAM-AAA123-20090130-</a:t>
            </a:r>
          </a:p>
        </p:txBody>
      </p:sp>
      <p:sp>
        <p:nvSpPr>
          <p:cNvPr id="5427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 smtClean="0"/>
          </a:p>
        </p:txBody>
      </p:sp>
    </p:spTree>
    <p:extLst>
      <p:ext uri="{BB962C8B-B14F-4D97-AF65-F5344CB8AC3E}">
        <p14:creationId xmlns:p14="http://schemas.microsoft.com/office/powerpoint/2010/main" val="4055027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8862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6261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543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0750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396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7559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5972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567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4.png"/><Relationship Id="rId2" Type="http://schemas.openxmlformats.org/officeDocument/2006/relationships/tags" Target="../tags/tag10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3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2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image" Target="../media/image1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11" Type="http://schemas.openxmlformats.org/officeDocument/2006/relationships/image" Target="../media/image2.jpeg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313084" y="4248150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498248" y="5557688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593" y="5666307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143900" y="6356351"/>
            <a:ext cx="5429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53528" y="982470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913243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318788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pic>
        <p:nvPicPr>
          <p:cNvPr id="12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181853" y="6198201"/>
            <a:ext cx="684423" cy="63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738" y="6305273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 rot="10800000" flipH="1" flipV="1">
            <a:off x="-1" y="6724298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358548" y="5811900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93" y="5920519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44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256305" y="1250343"/>
            <a:ext cx="7529885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4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 smtClean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674100" y="6451341"/>
            <a:ext cx="432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1031" name="E719C35A-4CD6-4178-B0D0-8DA208F1799A" descr="E719C35A-4CD6-4178-B0D0-8DA208F1799A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 rotWithShape="1">
          <a:blip r:embed="rId2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6877050" y="6288821"/>
            <a:ext cx="618324" cy="576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3324" y="6363329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ítulo del patrón</a:t>
            </a:r>
            <a:endParaRPr lang="es-CO" dirty="0" smtClean="0"/>
          </a:p>
        </p:txBody>
      </p:sp>
      <p:sp>
        <p:nvSpPr>
          <p:cNvPr id="19" name="Rectangle 18"/>
          <p:cNvSpPr/>
          <p:nvPr userDrawn="1">
            <p:custDataLst>
              <p:tags r:id="rId17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8"/>
            </p:custDataLst>
          </p:nvPr>
        </p:nvSpPr>
        <p:spPr>
          <a:xfrm rot="10800000" flipH="1" flipV="1">
            <a:off x="-1" y="6724298"/>
            <a:ext cx="6717507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  <p:sldLayoutId id="214748367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72.xml"/><Relationship Id="rId7" Type="http://schemas.openxmlformats.org/officeDocument/2006/relationships/image" Target="../media/image15.emf"/><Relationship Id="rId2" Type="http://schemas.openxmlformats.org/officeDocument/2006/relationships/tags" Target="../tags/tag7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jpe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png"/><Relationship Id="rId2" Type="http://schemas.openxmlformats.org/officeDocument/2006/relationships/tags" Target="../tags/tag7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emf"/><Relationship Id="rId2" Type="http://schemas.openxmlformats.org/officeDocument/2006/relationships/tags" Target="../tags/tag7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0.emf"/><Relationship Id="rId2" Type="http://schemas.openxmlformats.org/officeDocument/2006/relationships/tags" Target="../tags/tag7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6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6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png"/><Relationship Id="rId2" Type="http://schemas.openxmlformats.org/officeDocument/2006/relationships/tags" Target="../tags/tag6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66.xml"/><Relationship Id="rId7" Type="http://schemas.openxmlformats.org/officeDocument/2006/relationships/image" Target="../media/image7.emf"/><Relationship Id="rId2" Type="http://schemas.openxmlformats.org/officeDocument/2006/relationships/tags" Target="../tags/tag65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68.xml"/><Relationship Id="rId7" Type="http://schemas.openxmlformats.org/officeDocument/2006/relationships/image" Target="../media/image7.emf"/><Relationship Id="rId2" Type="http://schemas.openxmlformats.org/officeDocument/2006/relationships/tags" Target="../tags/tag6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70.xml"/><Relationship Id="rId7" Type="http://schemas.openxmlformats.org/officeDocument/2006/relationships/image" Target="../media/image7.emf"/><Relationship Id="rId2" Type="http://schemas.openxmlformats.org/officeDocument/2006/relationships/tags" Target="../tags/tag6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313084" y="1690686"/>
            <a:ext cx="5833110" cy="1470025"/>
          </a:xfrm>
        </p:spPr>
        <p:txBody>
          <a:bodyPr/>
          <a:lstStyle/>
          <a:p>
            <a:r>
              <a:rPr lang="en-US" dirty="0" err="1">
                <a:solidFill>
                  <a:schemeClr val="tx2"/>
                </a:solidFill>
              </a:rPr>
              <a:t>Avances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>
                <a:solidFill>
                  <a:schemeClr val="tx2"/>
                </a:solidFill>
              </a:rPr>
              <a:t>Modo</a:t>
            </a:r>
            <a:r>
              <a:rPr lang="en-US" dirty="0">
                <a:solidFill>
                  <a:schemeClr val="tx2"/>
                </a:solidFill>
              </a:rPr>
              <a:t> </a:t>
            </a:r>
            <a:r>
              <a:rPr lang="en-US" dirty="0" err="1" smtClean="0">
                <a:solidFill>
                  <a:schemeClr val="tx2"/>
                </a:solidFill>
              </a:rPr>
              <a:t>Portuario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313084" y="4248150"/>
            <a:ext cx="3219450" cy="361950"/>
          </a:xfrm>
        </p:spPr>
        <p:txBody>
          <a:bodyPr/>
          <a:lstStyle/>
          <a:p>
            <a:r>
              <a:rPr lang="es-ES" dirty="0" smtClean="0"/>
              <a:t>Junio de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Rectangle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sym typeface="Candara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102659" y="215153"/>
            <a:ext cx="6414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Sociedad Portuaria </a:t>
            </a:r>
            <a:r>
              <a:rPr lang="es-CO" sz="28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Bavaria S.A.</a:t>
            </a:r>
            <a:endParaRPr lang="es-CO" sz="2800" b="1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latin typeface="Candara" pitchFamily="34" charset="0"/>
              <a:ea typeface="+mj-ea"/>
              <a:cs typeface="+mj-cs"/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7899927"/>
              </p:ext>
            </p:extLst>
          </p:nvPr>
        </p:nvGraphicFramePr>
        <p:xfrm>
          <a:off x="1290302" y="4805519"/>
          <a:ext cx="6096000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Inversión Programada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2016</a:t>
                      </a: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Inversión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Ejecutada a  Abril de  2016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008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D</a:t>
                      </a:r>
                      <a:r>
                        <a:rPr lang="es-CO" sz="18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       </a:t>
                      </a:r>
                      <a:r>
                        <a:rPr lang="es-CO" sz="18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CO" sz="1800" b="1" kern="1200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0.000 </a:t>
                      </a:r>
                      <a:r>
                        <a:rPr lang="es-CO" sz="18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     </a:t>
                      </a:r>
                      <a:endParaRPr lang="es-CO" sz="18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</a:t>
                      </a:r>
                      <a:r>
                        <a:rPr lang="es-CO" sz="18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CO" sz="1800" b="1" kern="1200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$            8.235 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s-CO" sz="18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Imagen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7274" y="1403797"/>
            <a:ext cx="4377438" cy="3264794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41"/>
          <a:stretch/>
        </p:blipFill>
        <p:spPr>
          <a:xfrm>
            <a:off x="4433691" y="1357937"/>
            <a:ext cx="3083215" cy="33404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498243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 txBox="1">
            <a:spLocks noGrp="1"/>
          </p:cNvSpPr>
          <p:nvPr>
            <p:ph type="title"/>
          </p:nvPr>
        </p:nvSpPr>
        <p:spPr>
          <a:xfrm>
            <a:off x="286246" y="580122"/>
            <a:ext cx="85953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Sociedad Portuaria </a:t>
            </a:r>
            <a:r>
              <a:rPr lang="es-CO" sz="28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Oiltanking Colombia S.A.</a:t>
            </a:r>
            <a:endParaRPr lang="es-CO" sz="2800" b="1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latin typeface="Candara" pitchFamily="34" charset="0"/>
              <a:ea typeface="+mj-ea"/>
              <a:cs typeface="+mj-cs"/>
            </a:endParaRP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3874786"/>
              </p:ext>
            </p:extLst>
          </p:nvPr>
        </p:nvGraphicFramePr>
        <p:xfrm>
          <a:off x="1184853" y="5038344"/>
          <a:ext cx="6735654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7827"/>
                <a:gridCol w="3367827"/>
              </a:tblGrid>
              <a:tr h="613317">
                <a:tc>
                  <a:txBody>
                    <a:bodyPr/>
                    <a:lstStyle/>
                    <a:p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Inversión Programada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2016</a:t>
                      </a: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Inversión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Ejecutada a  Abril de  2016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008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D</a:t>
                      </a:r>
                      <a:r>
                        <a:rPr lang="es-CO" sz="18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        1.202.650 </a:t>
                      </a:r>
                      <a:endParaRPr lang="es-CO" sz="18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</a:t>
                      </a:r>
                      <a:r>
                        <a:rPr lang="es-CO" sz="18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           251.374 </a:t>
                      </a:r>
                      <a:endParaRPr lang="es-CO" sz="18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1560" name="Picture 56" descr="https://c1.staticflickr.com/1/572/20902686122_667c307541_m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496" y="1333139"/>
            <a:ext cx="5864860" cy="3274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52888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790234" y="323138"/>
            <a:ext cx="800712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Socieda</a:t>
            </a:r>
            <a:r>
              <a:rPr lang="es-ES" sz="28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d Portuaria </a:t>
            </a:r>
            <a:r>
              <a:rPr lang="es-ES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Refinería de Cartagena - </a:t>
            </a:r>
            <a:r>
              <a:rPr lang="es-ES" sz="28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REFICAR</a:t>
            </a:r>
            <a:endParaRPr lang="es-ES" sz="2800" b="1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</a:endParaRP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4044152"/>
              </p:ext>
            </p:extLst>
          </p:nvPr>
        </p:nvGraphicFramePr>
        <p:xfrm>
          <a:off x="1645023" y="4368796"/>
          <a:ext cx="609600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Inversión Programada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2016</a:t>
                      </a: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Inversión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Ejecutada a  Abril de  2016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sz="1800" b="1" i="0" u="none" strike="noStrike" dirty="0" smtClean="0">
                          <a:solidFill>
                            <a:srgbClr val="386295"/>
                          </a:solidFill>
                          <a:effectLst/>
                          <a:latin typeface="Calibri" charset="0"/>
                        </a:rPr>
                        <a:t>USD $ 9.718.0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 </a:t>
                      </a:r>
                      <a:r>
                        <a:rPr lang="es-CO" sz="1800" b="1" i="0" u="none" strike="noStrike" kern="1200" dirty="0" smtClean="0">
                          <a:solidFill>
                            <a:srgbClr val="386295"/>
                          </a:solidFill>
                          <a:effectLst/>
                          <a:latin typeface="Calibri" charset="0"/>
                          <a:ea typeface="+mn-ea"/>
                          <a:cs typeface="+mn-cs"/>
                        </a:rPr>
                        <a:t>USD $ 654.936</a:t>
                      </a:r>
                      <a:endParaRPr lang="es-CO" sz="1800" b="1" i="0" u="none" strike="noStrike" kern="1200" dirty="0">
                        <a:solidFill>
                          <a:srgbClr val="386295"/>
                        </a:solidFill>
                        <a:effectLst/>
                        <a:latin typeface="Calibri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" name="Imagen 6"/>
          <p:cNvPicPr/>
          <p:nvPr/>
        </p:nvPicPr>
        <p:blipFill rotWithShape="1">
          <a:blip r:embed="rId7"/>
          <a:srcRect l="14256" t="8151" r="13611" b="11249"/>
          <a:stretch/>
        </p:blipFill>
        <p:spPr bwMode="auto">
          <a:xfrm>
            <a:off x="1579739" y="1349491"/>
            <a:ext cx="6161284" cy="278031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13130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6"/>
          <p:cNvSpPr>
            <a:spLocks noChangeArrowheads="1"/>
          </p:cNvSpPr>
          <p:nvPr/>
        </p:nvSpPr>
        <p:spPr bwMode="auto">
          <a:xfrm>
            <a:off x="88901" y="995955"/>
            <a:ext cx="8915400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400" b="1" dirty="0" smtClean="0">
                <a:effectLst/>
                <a:latin typeface="Calibri"/>
                <a:ea typeface="Times New Roman"/>
                <a:cs typeface="Times New Roman"/>
              </a:rPr>
              <a:t>INTERVENTORIAS CONTRATADAS</a:t>
            </a:r>
          </a:p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400" b="1" dirty="0" smtClean="0">
                <a:effectLst/>
                <a:latin typeface="Calibri"/>
                <a:ea typeface="Times New Roman"/>
                <a:cs typeface="Times New Roman"/>
              </a:rPr>
              <a:t> VIGENCIA 2016 MODO PORTUARIO</a:t>
            </a:r>
            <a:endParaRPr lang="es-CO" sz="3400" dirty="0">
              <a:effectLst/>
              <a:latin typeface="Calibri"/>
              <a:ea typeface="Times New Roman"/>
              <a:cs typeface="Times New Roman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6535" y="2006600"/>
            <a:ext cx="6811318" cy="429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259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6"/>
          <p:cNvSpPr>
            <a:spLocks noChangeArrowheads="1"/>
          </p:cNvSpPr>
          <p:nvPr/>
        </p:nvSpPr>
        <p:spPr bwMode="auto">
          <a:xfrm>
            <a:off x="88901" y="995955"/>
            <a:ext cx="8915400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400" b="1" dirty="0" smtClean="0">
                <a:effectLst/>
                <a:latin typeface="Calibri"/>
                <a:ea typeface="Times New Roman"/>
                <a:cs typeface="Times New Roman"/>
              </a:rPr>
              <a:t>INTERVENTORIAS EN EJECUCION</a:t>
            </a:r>
          </a:p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400" b="1" dirty="0" smtClean="0">
                <a:effectLst/>
                <a:latin typeface="Calibri"/>
                <a:ea typeface="Times New Roman"/>
                <a:cs typeface="Times New Roman"/>
              </a:rPr>
              <a:t> MODO PORTUARIO</a:t>
            </a:r>
            <a:endParaRPr lang="es-CO" sz="3400" dirty="0">
              <a:effectLst/>
              <a:latin typeface="Calibri"/>
              <a:ea typeface="Times New Roman"/>
              <a:cs typeface="Times New Roman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1248" y="1827334"/>
            <a:ext cx="7552944" cy="4843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713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91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3664" y="1412776"/>
            <a:ext cx="5085560" cy="408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39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771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Rectangle 16"/>
          <p:cNvSpPr>
            <a:spLocks noChangeArrowheads="1"/>
          </p:cNvSpPr>
          <p:nvPr/>
        </p:nvSpPr>
        <p:spPr bwMode="auto">
          <a:xfrm>
            <a:off x="1136576" y="1124744"/>
            <a:ext cx="6493242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600" b="1" dirty="0" smtClean="0">
                <a:effectLst/>
                <a:latin typeface="Calibri"/>
                <a:ea typeface="Times New Roman"/>
                <a:cs typeface="Times New Roman"/>
              </a:rPr>
              <a:t>AVANCES MODO PORTUARIO</a:t>
            </a:r>
            <a:endParaRPr lang="es-CO" sz="1400" dirty="0">
              <a:effectLst/>
              <a:latin typeface="Calibri"/>
              <a:ea typeface="Times New Roman"/>
              <a:cs typeface="Times New Roman"/>
            </a:endParaRPr>
          </a:p>
        </p:txBody>
      </p:sp>
      <p:pic>
        <p:nvPicPr>
          <p:cNvPr id="6" name="Imagen 5"/>
          <p:cNvPicPr/>
          <p:nvPr/>
        </p:nvPicPr>
        <p:blipFill rotWithShape="1">
          <a:blip r:embed="rId7" cstate="print"/>
          <a:srcRect l="7786" r="7675"/>
          <a:stretch/>
        </p:blipFill>
        <p:spPr bwMode="auto">
          <a:xfrm>
            <a:off x="1712640" y="2105536"/>
            <a:ext cx="5256584" cy="32676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12241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72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13"/>
          <p:cNvSpPr/>
          <p:nvPr/>
        </p:nvSpPr>
        <p:spPr>
          <a:xfrm>
            <a:off x="1928664" y="487730"/>
            <a:ext cx="620573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Portuario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2144688" y="1195616"/>
            <a:ext cx="50629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600" dirty="0" smtClean="0"/>
              <a:t>Metas 2016</a:t>
            </a:r>
            <a:endParaRPr lang="es-CO" sz="3600" dirty="0"/>
          </a:p>
        </p:txBody>
      </p:sp>
      <p:sp>
        <p:nvSpPr>
          <p:cNvPr id="19" name="CuadroTexto 18"/>
          <p:cNvSpPr txBox="1"/>
          <p:nvPr/>
        </p:nvSpPr>
        <p:spPr>
          <a:xfrm>
            <a:off x="1412593" y="1759739"/>
            <a:ext cx="69380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 smtClean="0"/>
              <a:t>Para el año 2016 se planea una meta de inversión  de </a:t>
            </a:r>
            <a:endParaRPr lang="es-CO" dirty="0" smtClean="0"/>
          </a:p>
          <a:p>
            <a:pPr algn="ctr"/>
            <a:r>
              <a:rPr lang="es-CO" dirty="0" smtClean="0"/>
              <a:t>USD $135.112.194 </a:t>
            </a:r>
            <a:r>
              <a:rPr lang="es-CO" dirty="0" smtClean="0"/>
              <a:t>– </a:t>
            </a:r>
            <a:r>
              <a:rPr lang="es-CO" dirty="0" smtClean="0"/>
              <a:t>al mes de abril </a:t>
            </a:r>
            <a:r>
              <a:rPr lang="es-CO" dirty="0" smtClean="0"/>
              <a:t>se ha ejecutado un 28.5</a:t>
            </a:r>
            <a:r>
              <a:rPr lang="es-CO" dirty="0" smtClean="0"/>
              <a:t>%</a:t>
            </a:r>
            <a:endParaRPr lang="es-CO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6677" y="2611388"/>
            <a:ext cx="4008192" cy="3883541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9576" y="2898914"/>
            <a:ext cx="4290823" cy="320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843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749806" y="323138"/>
            <a:ext cx="8087984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Socieda</a:t>
            </a:r>
            <a:r>
              <a:rPr lang="es-ES" sz="28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d Portuaria Puerto Industrial Agua Dulce S.A  </a:t>
            </a:r>
            <a:endParaRPr lang="es-ES" sz="28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7178252"/>
              </p:ext>
            </p:extLst>
          </p:nvPr>
        </p:nvGraphicFramePr>
        <p:xfrm>
          <a:off x="1645023" y="4368796"/>
          <a:ext cx="609600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Inversión Programada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2016</a:t>
                      </a: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Inversión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Ejecutada a  Abril de  2016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sz="1800" b="1" i="0" u="none" strike="noStrike" dirty="0" smtClean="0">
                          <a:solidFill>
                            <a:srgbClr val="386295"/>
                          </a:solidFill>
                          <a:effectLst/>
                          <a:latin typeface="Calibri" charset="0"/>
                        </a:rPr>
                        <a:t>USD $ 32.047.932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 </a:t>
                      </a:r>
                      <a:r>
                        <a:rPr lang="es-CO" sz="1800" b="1" i="0" u="none" strike="noStrike" kern="1200" dirty="0" smtClean="0">
                          <a:solidFill>
                            <a:srgbClr val="386295"/>
                          </a:solidFill>
                          <a:effectLst/>
                          <a:latin typeface="Calibri" charset="0"/>
                          <a:ea typeface="+mn-ea"/>
                          <a:cs typeface="+mn-cs"/>
                        </a:rPr>
                        <a:t>USD $ 10.194.338 </a:t>
                      </a:r>
                      <a:endParaRPr lang="es-CO" sz="1800" b="1" i="0" u="none" strike="noStrike" kern="1200" dirty="0">
                        <a:solidFill>
                          <a:srgbClr val="386295"/>
                        </a:solidFill>
                        <a:effectLst/>
                        <a:latin typeface="Calibri" charset="0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9" name="Imagen 8"/>
          <p:cNvPicPr/>
          <p:nvPr/>
        </p:nvPicPr>
        <p:blipFill rotWithShape="1">
          <a:blip r:embed="rId7"/>
          <a:srcRect l="22134" t="25955" r="23153" b="24509"/>
          <a:stretch/>
        </p:blipFill>
        <p:spPr bwMode="auto">
          <a:xfrm>
            <a:off x="1645023" y="1215162"/>
            <a:ext cx="6095999" cy="27848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74782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/>
          <p:cNvSpPr/>
          <p:nvPr/>
        </p:nvSpPr>
        <p:spPr>
          <a:xfrm>
            <a:off x="336795" y="301418"/>
            <a:ext cx="7818999" cy="113877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Sociedad Portuaria </a:t>
            </a:r>
            <a:r>
              <a:rPr lang="es-ES" sz="2800" b="1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Regional de Buenaventura S.A   </a:t>
            </a:r>
            <a:endParaRPr lang="es-ES" sz="2800" b="1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</a:endParaRPr>
          </a:p>
          <a:p>
            <a:pPr algn="ctr"/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36903" y="1632134"/>
            <a:ext cx="4996248" cy="28749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1797124"/>
              </p:ext>
            </p:extLst>
          </p:nvPr>
        </p:nvGraphicFramePr>
        <p:xfrm>
          <a:off x="1522874" y="4827868"/>
          <a:ext cx="609600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Inversión Programada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2016</a:t>
                      </a: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 Inversión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Ejecutada a  Abril de  2016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 $ 69.677.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USD</a:t>
                      </a:r>
                      <a:r>
                        <a:rPr lang="es-CO" sz="18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</a:t>
                      </a: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.303.005 </a:t>
                      </a:r>
                      <a:endParaRPr lang="es-CO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907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0394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ES" sz="280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Sociedad Portuaria Regional de </a:t>
            </a:r>
            <a:r>
              <a:rPr lang="es-ES" sz="280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Cartagena S.A    </a:t>
            </a:r>
            <a:endParaRPr lang="es-ES" sz="280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</a:endParaRPr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873815"/>
              </p:ext>
            </p:extLst>
          </p:nvPr>
        </p:nvGraphicFramePr>
        <p:xfrm>
          <a:off x="1522874" y="4827868"/>
          <a:ext cx="609600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Inversión Programada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2016</a:t>
                      </a: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Inversión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Ejecutada a  Abril de  2016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D</a:t>
                      </a:r>
                      <a:r>
                        <a:rPr lang="es-CO" sz="18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</a:t>
                      </a: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343.454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</a:t>
                      </a:r>
                      <a:r>
                        <a:rPr lang="es-CO" sz="18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</a:t>
                      </a: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.331.501   </a:t>
                      </a:r>
                      <a:endParaRPr lang="es-CO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9" name="Imagen 8" descr="http://www.eluniversal.com.co/sites/default/files/201201/imagen/contenedores.jpg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07" y="1355229"/>
            <a:ext cx="5397258" cy="300161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184822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8857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ES" sz="280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Sociedad Portuaria </a:t>
            </a:r>
            <a:r>
              <a:rPr lang="es-ES" sz="280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Terminal de Contenedores de Cartagena S.A </a:t>
            </a:r>
            <a:endParaRPr lang="es-CO" sz="2800" dirty="0"/>
          </a:p>
        </p:txBody>
      </p:sp>
      <p:pic>
        <p:nvPicPr>
          <p:cNvPr id="5" name="Imagen 4" descr="http://static.panoramio.com/photos/original/86949065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874" y="1496453"/>
            <a:ext cx="5952677" cy="30352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6" name="Tab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131234"/>
              </p:ext>
            </p:extLst>
          </p:nvPr>
        </p:nvGraphicFramePr>
        <p:xfrm>
          <a:off x="1522874" y="4827868"/>
          <a:ext cx="609600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Inversión Programada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2016</a:t>
                      </a: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Inversión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Ejecutada a abril 2016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 $ 13.600.00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 $2.734.564</a:t>
                      </a:r>
                      <a:endParaRPr lang="es-CO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417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6773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1102659" y="215153"/>
            <a:ext cx="6414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Sociedad Portuaria El </a:t>
            </a:r>
            <a:r>
              <a:rPr lang="es-CO" sz="2800" b="1" dirty="0" err="1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Cayao</a:t>
            </a:r>
            <a:r>
              <a:rPr lang="es-CO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 S.A E.S.P</a:t>
            </a:r>
          </a:p>
        </p:txBody>
      </p:sp>
      <p:pic>
        <p:nvPicPr>
          <p:cNvPr id="9" name="Imagen 8" descr="http://www.fundacionmamonal.org.co/media/14794/cayao%202.jpg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377" y="1386876"/>
            <a:ext cx="5580529" cy="30372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3912935"/>
              </p:ext>
            </p:extLst>
          </p:nvPr>
        </p:nvGraphicFramePr>
        <p:xfrm>
          <a:off x="1751473" y="4816737"/>
          <a:ext cx="6096000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Inversión Programada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2016</a:t>
                      </a: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dirty="0" smtClean="0">
                          <a:solidFill>
                            <a:schemeClr val="tx1"/>
                          </a:solidFill>
                        </a:rPr>
                        <a:t> Inversión</a:t>
                      </a:r>
                      <a:r>
                        <a:rPr lang="es-CO" baseline="0" dirty="0" smtClean="0">
                          <a:solidFill>
                            <a:schemeClr val="tx1"/>
                          </a:solidFill>
                        </a:rPr>
                        <a:t> Ejecutada a  Abril de  2016</a:t>
                      </a:r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008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D</a:t>
                      </a:r>
                      <a:r>
                        <a:rPr lang="es-CO" sz="18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 3.771.000 </a:t>
                      </a:r>
                      <a:endParaRPr lang="es-CO" sz="18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</a:t>
                      </a:r>
                      <a:r>
                        <a:rPr lang="es-CO" sz="18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   10.933.069,86 </a:t>
                      </a:r>
                      <a:endParaRPr lang="es-CO" sz="18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7612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8OQMxAU2fzgqyNFJw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CDqDLnUKKaWj8jgUrB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xZw5OffkWAiHIb.7Hy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 ANI PPT</Template>
  <TotalTime>605</TotalTime>
  <Words>253</Words>
  <Application>Microsoft Office PowerPoint</Application>
  <PresentationFormat>Presentación en pantalla (4:3)</PresentationFormat>
  <Paragraphs>72</Paragraphs>
  <Slides>14</Slides>
  <Notes>14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23" baseType="lpstr">
      <vt:lpstr>MS PGothic</vt:lpstr>
      <vt:lpstr>Arial</vt:lpstr>
      <vt:lpstr>Calibri</vt:lpstr>
      <vt:lpstr>Candara</vt:lpstr>
      <vt:lpstr>Helvetica Neue Bold Condensed</vt:lpstr>
      <vt:lpstr>Impact</vt:lpstr>
      <vt:lpstr>Times New Roman</vt:lpstr>
      <vt:lpstr>plantilla ANI</vt:lpstr>
      <vt:lpstr>think-cell Slide</vt:lpstr>
      <vt:lpstr>Avances Modo Portuari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Sociedad Portuaria Regional de Cartagena S.A    </vt:lpstr>
      <vt:lpstr>Sociedad Portuaria Terminal de Contenedores de Cartagena S.A </vt:lpstr>
      <vt:lpstr>Presentación de PowerPoint</vt:lpstr>
      <vt:lpstr>Presentación de PowerPoint</vt:lpstr>
      <vt:lpstr>Sociedad Portuaria Oiltanking Colombia S.A.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Leonardo Garcia Duarte</dc:creator>
  <cp:lastModifiedBy>Ricardo Aguilera Wilches</cp:lastModifiedBy>
  <cp:revision>22</cp:revision>
  <dcterms:created xsi:type="dcterms:W3CDTF">2015-06-23T21:46:26Z</dcterms:created>
  <dcterms:modified xsi:type="dcterms:W3CDTF">2016-06-03T14:51:17Z</dcterms:modified>
</cp:coreProperties>
</file>